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F815-408F-AB0B-F952-CBFAC9D5B6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0418B56-CAC3-A5F4-4927-A17370497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418B56-CAC3-A5F4-4927-A17370497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55BC75-1747-F7D5-2EE1-FEE8F0767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9A0AC0-9B92-D952-D65C-2962CA5071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20D106B-601E-8211-DD29-376518C2DB8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C9AA7DF-437B-A6AE-A60C-01EFDD66DC15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529154"/>
          <a:ext cx="10667385" cy="4360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19087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7776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5</TotalTime>
  <Words>71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27</cp:revision>
  <dcterms:created xsi:type="dcterms:W3CDTF">2025-07-09T10:57:17Z</dcterms:created>
  <dcterms:modified xsi:type="dcterms:W3CDTF">2025-10-22T09:39:04Z</dcterms:modified>
  <cp:category/>
</cp:coreProperties>
</file>